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8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A1FE0C-D5F6-110E-2275-B6C9EAA56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B532BEC-5808-1FDF-8335-265D867A0C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532BEC-5808-1FDF-8335-265D867A0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B0824B-79A9-252A-6328-B936E63A4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7C3D7F-FDEB-9CD5-B0A4-9F038D9E1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C9DD9C7-61A2-166D-4223-02487A1D469B}"/>
              </a:ext>
            </a:extLst>
          </p:cNvPr>
          <p:cNvGraphicFramePr>
            <a:graphicFrameLocks noGrp="1"/>
          </p:cNvGraphicFramePr>
          <p:nvPr/>
        </p:nvGraphicFramePr>
        <p:xfrm>
          <a:off x="829455" y="1496672"/>
          <a:ext cx="5072081" cy="40559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22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2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66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754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FFFFFF"/>
                          </a:solidFill>
                          <a:latin typeface="+mn-lt"/>
                        </a:rPr>
                        <a:t>Info 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Info 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  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Not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390CA2B-5611-9263-165B-017BC9C90C71}"/>
              </a:ext>
            </a:extLst>
          </p:cNvPr>
          <p:cNvGraphicFramePr>
            <a:graphicFrameLocks noGrp="1"/>
          </p:cNvGraphicFramePr>
          <p:nvPr/>
        </p:nvGraphicFramePr>
        <p:xfrm>
          <a:off x="6287904" y="1496672"/>
          <a:ext cx="5072082" cy="40559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224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2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66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754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FFFFFF"/>
                          </a:solidFill>
                          <a:latin typeface="+mn-lt"/>
                        </a:rPr>
                        <a:t>Info 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Info 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  This is a sample text. </a:t>
                      </a:r>
                      <a:endParaRPr lang="en-US" sz="14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Y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latin typeface="+mn-lt"/>
                        </a:rPr>
                        <a:t>No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7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Not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2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47625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0</TotalTime>
  <Words>114</Words>
  <Application>Microsoft Office PowerPoint</Application>
  <PresentationFormat>Widescreen</PresentationFormat>
  <Paragraphs>4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59</cp:revision>
  <dcterms:created xsi:type="dcterms:W3CDTF">2021-03-31T02:49:57Z</dcterms:created>
  <dcterms:modified xsi:type="dcterms:W3CDTF">2025-10-15T08:44:54Z</dcterms:modified>
  <cp:category/>
</cp:coreProperties>
</file>